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0" r:id="rId2"/>
    <p:sldId id="261" r:id="rId3"/>
    <p:sldId id="266" r:id="rId4"/>
  </p:sldIdLst>
  <p:sldSz cx="8961438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153" d="100"/>
          <a:sy n="153" d="100"/>
        </p:scale>
        <p:origin x="-1512" y="-10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printerSettings" Target="printerSettings/printerSettings1.bin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dirty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92338" y="6305550"/>
            <a:ext cx="6767512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/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http://</a:t>
            </a: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github.com</a:t>
            </a: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/</a:t>
            </a: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sanjusoftware</a:t>
            </a: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/poi</a:t>
            </a:r>
            <a:endParaRPr lang="en-US" sz="1400" baseline="0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51076" y="6434981"/>
            <a:ext cx="19817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 smtClean="0">
                <a:latin typeface="+mn-lt"/>
                <a:ea typeface="+mn-ea"/>
              </a:rPr>
              <a:t>http://</a:t>
            </a:r>
            <a:r>
              <a:rPr lang="en-US" sz="1000" baseline="0" noProof="0" dirty="0" err="1" smtClean="0">
                <a:latin typeface="+mn-lt"/>
                <a:ea typeface="+mn-ea"/>
              </a:rPr>
              <a:t>github.com</a:t>
            </a:r>
            <a:r>
              <a:rPr lang="en-US" sz="1000" baseline="0" noProof="0" dirty="0" smtClean="0">
                <a:latin typeface="+mn-lt"/>
                <a:ea typeface="+mn-ea"/>
              </a:rPr>
              <a:t>/</a:t>
            </a:r>
            <a:r>
              <a:rPr lang="en-US" sz="1000" baseline="0" noProof="0" dirty="0" err="1" smtClean="0">
                <a:latin typeface="+mn-lt"/>
                <a:ea typeface="+mn-ea"/>
              </a:rPr>
              <a:t>sanjusoftware</a:t>
            </a:r>
            <a:r>
              <a:rPr lang="en-US" sz="1000" baseline="0" noProof="0" dirty="0" smtClean="0">
                <a:latin typeface="+mn-lt"/>
                <a:ea typeface="+mn-ea"/>
              </a:rPr>
              <a:t>/poi</a:t>
            </a:r>
            <a:endParaRPr lang="en-US" sz="1000" baseline="0" noProof="0" dirty="0">
              <a:latin typeface="+mn-lt"/>
              <a:ea typeface="+mn-ea"/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3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smtClean="0"/>
              <a:t>Executive summar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" action="ppaction://noaction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" action="ppaction://noaction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831</TotalTime>
  <Words>269</Words>
  <Application>Microsoft Macintosh PowerPoint</Application>
  <PresentationFormat>Custom</PresentationFormat>
  <Paragraphs>20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Firm Format - English (US)</vt:lpstr>
      <vt:lpstr>think-cell Slide</vt:lpstr>
      <vt:lpstr>Our proposal to support %CLIENTNAME%</vt:lpstr>
      <vt:lpstr>Executive summary</vt:lpstr>
      <vt:lpstr>Cont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15</cp:revision>
  <cp:lastPrinted>2008-09-19T11:06:26Z</cp:lastPrinted>
  <dcterms:created xsi:type="dcterms:W3CDTF">2014-11-19T03:44:20Z</dcterms:created>
  <dcterms:modified xsi:type="dcterms:W3CDTF">2014-11-25T02:5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